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</p:sldMasterIdLst>
  <p:notesMasterIdLst>
    <p:notesMasterId r:id="rId12"/>
  </p:notesMasterIdLst>
  <p:sldIdLst>
    <p:sldId id="290" r:id="rId6"/>
    <p:sldId id="326" r:id="rId7"/>
    <p:sldId id="327" r:id="rId8"/>
    <p:sldId id="330" r:id="rId9"/>
    <p:sldId id="328" r:id="rId10"/>
    <p:sldId id="329" r:id="rId11"/>
  </p:sldIdLst>
  <p:sldSz cx="12192000" cy="6858000"/>
  <p:notesSz cx="6808788" cy="99409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el, Bhavisha" initials="PB" lastIdx="2" clrIdx="0">
    <p:extLst>
      <p:ext uri="{19B8F6BF-5375-455C-9EA6-DF929625EA0E}">
        <p15:presenceInfo xmlns:p15="http://schemas.microsoft.com/office/powerpoint/2012/main" userId="S-1-5-21-2460336825-3585246265-3150112067-2244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A916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434" autoAdjust="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0475" cy="498773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8" y="1"/>
            <a:ext cx="2950475" cy="498773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72E55E0F-3C2F-4E46-B72B-1884D7A08608}" type="datetimeFigureOut">
              <a:rPr lang="en-GB" smtClean="0"/>
              <a:t>20/02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1"/>
            <a:ext cx="5447030" cy="3914239"/>
          </a:xfrm>
          <a:prstGeom prst="rect">
            <a:avLst/>
          </a:prstGeom>
        </p:spPr>
        <p:txBody>
          <a:bodyPr vert="horz" lIns="91428" tIns="45714" rIns="91428" bIns="4571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2154"/>
            <a:ext cx="2950475" cy="498772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8772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F4A74863-E7BF-46E1-9E0C-5CC707B356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21587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7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1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5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5.png"/><Relationship Id="rId2" Type="http://schemas.openxmlformats.org/officeDocument/2006/relationships/tags" Target="../tags/tag6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5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5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5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6.png"/><Relationship Id="rId2" Type="http://schemas.openxmlformats.org/officeDocument/2006/relationships/tags" Target="../tags/tag7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8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7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6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7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6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6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Relationship Id="rId9" Type="http://schemas.openxmlformats.org/officeDocument/2006/relationships/image" Target="../media/image1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5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5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r="-304" b="24761"/>
          <a:stretch/>
        </p:blipFill>
        <p:spPr bwMode="auto">
          <a:xfrm>
            <a:off x="-1" y="0"/>
            <a:ext cx="12214459" cy="6879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679450" y="2845715"/>
            <a:ext cx="8216900" cy="581698"/>
          </a:xfrm>
        </p:spPr>
        <p:txBody>
          <a:bodyPr anchor="b"/>
          <a:lstStyle>
            <a:lvl1pPr algn="l">
              <a:defRPr sz="4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679450" y="3519489"/>
            <a:ext cx="8216900" cy="9868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7"/>
          <a:srcRect l="3972" t="85841" r="64352" b="3883"/>
          <a:stretch/>
        </p:blipFill>
        <p:spPr>
          <a:xfrm>
            <a:off x="679450" y="5676900"/>
            <a:ext cx="4706754" cy="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61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9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</a:t>
            </a:r>
            <a:r>
              <a:rPr lang="en-US" dirty="0" smtClean="0">
                <a:solidFill>
                  <a:schemeClr val="tx2"/>
                </a:solidFill>
              </a:rPr>
              <a:t>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77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05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1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421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06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24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223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518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427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8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64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992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13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84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6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6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115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3532188" y="6138863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2632075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44513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650" y="6280150"/>
            <a:ext cx="90963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475" y="6183313"/>
            <a:ext cx="434975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688" y="6211888"/>
            <a:ext cx="16430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538163"/>
            <a:ext cx="14224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2808515" y="2809120"/>
            <a:ext cx="6574971" cy="12397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19530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1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2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157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" r="-304" b="24761"/>
          <a:stretch/>
        </p:blipFill>
        <p:spPr bwMode="auto">
          <a:xfrm>
            <a:off x="-1" y="0"/>
            <a:ext cx="12214459" cy="6879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le 1"/>
          <p:cNvSpPr>
            <a:spLocks noGrp="1"/>
          </p:cNvSpPr>
          <p:nvPr>
            <p:ph type="ctrTitle"/>
          </p:nvPr>
        </p:nvSpPr>
        <p:spPr>
          <a:xfrm>
            <a:off x="679450" y="2845715"/>
            <a:ext cx="8216900" cy="581698"/>
          </a:xfrm>
        </p:spPr>
        <p:txBody>
          <a:bodyPr anchor="b"/>
          <a:lstStyle>
            <a:lvl1pPr algn="l">
              <a:defRPr sz="4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0" name="Subtitle 2"/>
          <p:cNvSpPr>
            <a:spLocks noGrp="1"/>
          </p:cNvSpPr>
          <p:nvPr>
            <p:ph type="subTitle" idx="1"/>
          </p:nvPr>
        </p:nvSpPr>
        <p:spPr>
          <a:xfrm>
            <a:off x="679450" y="3519489"/>
            <a:ext cx="8216900" cy="986894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7"/>
          <a:srcRect l="3972" t="85841" r="64352" b="3883"/>
          <a:stretch/>
        </p:blipFill>
        <p:spPr>
          <a:xfrm>
            <a:off x="679450" y="5676900"/>
            <a:ext cx="4706754" cy="85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46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6529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0907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1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93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3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5946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09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2433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26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4238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506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11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0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270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schemeClr val="tx2"/>
                </a:solidFill>
              </a:rPr>
              <a:t>Click to add title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2121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5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65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31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739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46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9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01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75000"/>
                </a:schemeClr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23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2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22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</a:t>
            </a:r>
            <a:r>
              <a:rPr lang="en-US" dirty="0" smtClean="0"/>
              <a:t>add </a:t>
            </a:r>
            <a:r>
              <a:rPr lang="en-US" dirty="0"/>
              <a:t>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97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prstClr val="black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7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big statement text</a:t>
            </a:r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4411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9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474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27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4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24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239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8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766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3532188" y="6138863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2632075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44513" y="6140450"/>
            <a:ext cx="0" cy="52705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6650" y="6280150"/>
            <a:ext cx="90963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475" y="6183313"/>
            <a:ext cx="434975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688" y="6211888"/>
            <a:ext cx="1643062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63" y="538163"/>
            <a:ext cx="1422400" cy="72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 userDrawn="1"/>
        </p:nvSpPr>
        <p:spPr>
          <a:xfrm>
            <a:off x="2808515" y="2809120"/>
            <a:ext cx="6574971" cy="12397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23198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3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1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2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cs typeface="Arial" panose="020B0604020202020204" pitchFamily="34" charset="0"/>
                  <a:sym typeface="Arial" panose="020B0604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5276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9997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09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325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99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17578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DE2B29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85530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4679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0914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0436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0B050"/>
                </a:solidFill>
                <a:cs typeface="Arial" panose="020B0604020202020204" pitchFamily="34" charset="0"/>
                <a:sym typeface="Arial" panose="020B0604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707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52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/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733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30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tx2">
                <a:lumMod val="75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AU" sz="700" smtClean="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0190124-Defra_Testing_Dashboard-PB-V1.pptx</a:t>
            </a:r>
            <a:endParaRPr lang="en-US" sz="7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971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prstClr val="white">
                    <a:lumMod val="50000"/>
                  </a:prst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284530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25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2814" y="2802256"/>
            <a:ext cx="9116193" cy="2326791"/>
          </a:xfrm>
        </p:spPr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Business Readiness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Registration Journey – Org Admi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5324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/>
          <p:cNvSpPr/>
          <p:nvPr/>
        </p:nvSpPr>
        <p:spPr>
          <a:xfrm rot="10800000">
            <a:off x="190420" y="3776858"/>
            <a:ext cx="474424" cy="132857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 smtClean="0">
              <a:solidFill>
                <a:srgbClr val="FFFFFF"/>
              </a:solidFill>
            </a:endParaRPr>
          </a:p>
        </p:txBody>
      </p:sp>
      <p:cxnSp>
        <p:nvCxnSpPr>
          <p:cNvPr id="105" name="Straight Connector 104"/>
          <p:cNvCxnSpPr/>
          <p:nvPr/>
        </p:nvCxnSpPr>
        <p:spPr>
          <a:xfrm flipH="1" flipV="1">
            <a:off x="7440910" y="3869035"/>
            <a:ext cx="4308273" cy="1492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>
            <a:off x="824130" y="3862252"/>
            <a:ext cx="6679657" cy="533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68958" y="130198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How do I register for IPAFFS? – Org Admin</a:t>
            </a:r>
            <a:endParaRPr lang="en-GB" dirty="0"/>
          </a:p>
        </p:txBody>
      </p:sp>
      <p:grpSp>
        <p:nvGrpSpPr>
          <p:cNvPr id="31" name="Group 30"/>
          <p:cNvGrpSpPr/>
          <p:nvPr/>
        </p:nvGrpSpPr>
        <p:grpSpPr>
          <a:xfrm>
            <a:off x="405674" y="663102"/>
            <a:ext cx="670248" cy="638040"/>
            <a:chOff x="858253" y="1506484"/>
            <a:chExt cx="734090" cy="638040"/>
          </a:xfrm>
        </p:grpSpPr>
        <p:sp>
          <p:nvSpPr>
            <p:cNvPr id="32" name="Oval 3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79528" y="3612710"/>
            <a:ext cx="689810" cy="465221"/>
            <a:chOff x="858253" y="1588168"/>
            <a:chExt cx="689810" cy="465221"/>
          </a:xfrm>
        </p:grpSpPr>
        <p:sp>
          <p:nvSpPr>
            <p:cNvPr id="44" name="Oval 4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58253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6</a:t>
              </a: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4300223" y="654295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Provide Email Details </a:t>
            </a:r>
          </a:p>
        </p:txBody>
      </p:sp>
      <p:sp>
        <p:nvSpPr>
          <p:cNvPr id="72" name="Rectangle 71"/>
          <p:cNvSpPr/>
          <p:nvPr/>
        </p:nvSpPr>
        <p:spPr>
          <a:xfrm>
            <a:off x="1009442" y="740831"/>
            <a:ext cx="306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Create a Government Gateway Account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425389" y="3590585"/>
            <a:ext cx="39936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Receive Government Gateway ID 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4415191" y="3508535"/>
            <a:ext cx="718125" cy="616053"/>
            <a:chOff x="872579" y="1526960"/>
            <a:chExt cx="661156" cy="565415"/>
          </a:xfrm>
        </p:grpSpPr>
        <p:sp>
          <p:nvSpPr>
            <p:cNvPr id="94" name="Oval 9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872579" y="1526960"/>
              <a:ext cx="661156" cy="56541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5</a:t>
              </a:r>
            </a:p>
          </p:txBody>
        </p:sp>
      </p:grpSp>
      <p:cxnSp>
        <p:nvCxnSpPr>
          <p:cNvPr id="104" name="Straight Connector 103"/>
          <p:cNvCxnSpPr/>
          <p:nvPr/>
        </p:nvCxnSpPr>
        <p:spPr>
          <a:xfrm>
            <a:off x="11749183" y="1017830"/>
            <a:ext cx="0" cy="2866127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32236" y="991678"/>
            <a:ext cx="10816947" cy="2615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8073162" y="3633610"/>
            <a:ext cx="689810" cy="465221"/>
            <a:chOff x="858253" y="1588168"/>
            <a:chExt cx="689810" cy="465221"/>
          </a:xfrm>
        </p:grpSpPr>
        <p:sp>
          <p:nvSpPr>
            <p:cNvPr id="47" name="Oval 46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8253" y="1620253"/>
              <a:ext cx="689810" cy="41047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7994212" y="771263"/>
            <a:ext cx="815331" cy="465221"/>
            <a:chOff x="807419" y="1588168"/>
            <a:chExt cx="815331" cy="465221"/>
          </a:xfrm>
        </p:grpSpPr>
        <p:sp>
          <p:nvSpPr>
            <p:cNvPr id="35" name="Oval 3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07419" y="1613571"/>
              <a:ext cx="815331" cy="4398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374511" y="760047"/>
            <a:ext cx="689810" cy="465221"/>
            <a:chOff x="845376" y="1588168"/>
            <a:chExt cx="689810" cy="465221"/>
          </a:xfrm>
        </p:grpSpPr>
        <p:sp>
          <p:nvSpPr>
            <p:cNvPr id="29" name="Oval 28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45376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2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 smtClean="0">
              <a:solidFill>
                <a:srgbClr val="575757"/>
              </a:solidFill>
            </a:endParaRPr>
          </a:p>
        </p:txBody>
      </p:sp>
      <p:pic>
        <p:nvPicPr>
          <p:cNvPr id="114" name="Picture 113" descr="C:\Users\X947355\AppData\Local\Microsoft\Windows\Temporary Internet Files\Content.Outlook\2K4F3NVQ\SnipImage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129" y="1291028"/>
            <a:ext cx="3476093" cy="14403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Picture 114" descr="C:\Users\X947355\AppData\Local\Microsoft\Windows\Temporary Internet Files\Content.Outlook\2K4F3NVQ\SnipImage (008)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961" y="1250671"/>
            <a:ext cx="3166251" cy="15622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Picture 115" descr="C:\Users\X947355\AppData\Local\Microsoft\Windows\Temporary Internet Files\Content.Outlook\2K4F3NVQ\SnipImage (009)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4387" y="1294434"/>
            <a:ext cx="3167885" cy="14585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Picture 116" descr="C:\Users\X947355\AppData\Local\Microsoft\Windows\Temporary Internet Files\Content.Outlook\2K4F3NVQ\SnipImage (00A)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4387" y="4201200"/>
            <a:ext cx="3164641" cy="169048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8" name="Picture 117" descr="C:\Users\X947355\AppData\Local\Microsoft\Windows\Temporary Internet Files\Content.Outlook\2K4F3NVQ\SnipImage (00B)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1556" y="4161531"/>
            <a:ext cx="3172575" cy="18378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9" name="Picture 118" descr="C:\Users\X947355\AppData\Local\Microsoft\Windows\Temporary Internet Files\Content.Outlook\2K4F3NVQ\SnipImage (00C)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33" y="4141170"/>
            <a:ext cx="3435035" cy="1775458"/>
          </a:xfrm>
          <a:prstGeom prst="rect">
            <a:avLst/>
          </a:prstGeom>
          <a:noFill/>
          <a:ln>
            <a:noFill/>
          </a:ln>
        </p:spPr>
      </p:pic>
      <p:sp>
        <p:nvSpPr>
          <p:cNvPr id="120" name="Rectangle 119"/>
          <p:cNvSpPr/>
          <p:nvPr/>
        </p:nvSpPr>
        <p:spPr>
          <a:xfrm>
            <a:off x="1284366" y="3582616"/>
            <a:ext cx="22280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Now register for IPAFFS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8989161" y="765879"/>
            <a:ext cx="19541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Validate Email Details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9056943" y="3606958"/>
            <a:ext cx="20523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Create a Password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4681" y="2778157"/>
            <a:ext cx="4086911" cy="7155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 </a:t>
            </a:r>
            <a:r>
              <a:rPr lang="en-GB" sz="900" dirty="0" smtClean="0">
                <a:solidFill>
                  <a:srgbClr val="575757"/>
                </a:solidFill>
              </a:rPr>
              <a:t>Remember the first person to register your organisation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       will hold the ‘Org Admin’ position and will be able to invite other users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       to your organisation and also to allocate </a:t>
            </a:r>
            <a:r>
              <a:rPr lang="en-GB" sz="900" dirty="0">
                <a:solidFill>
                  <a:srgbClr val="575757"/>
                </a:solidFill>
              </a:rPr>
              <a:t>r</a:t>
            </a:r>
            <a:r>
              <a:rPr lang="en-GB" sz="900" dirty="0" smtClean="0">
                <a:solidFill>
                  <a:srgbClr val="575757"/>
                </a:solidFill>
              </a:rPr>
              <a:t>oles.  </a:t>
            </a:r>
          </a:p>
          <a:p>
            <a:endParaRPr lang="en-GB" sz="900" dirty="0">
              <a:solidFill>
                <a:srgbClr val="575757"/>
              </a:solidFill>
            </a:endParaRPr>
          </a:p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 We highly recommend that you have multiple ‘Org Admins’ within </a:t>
            </a:r>
          </a:p>
          <a:p>
            <a:pPr algn="ctr"/>
            <a:r>
              <a:rPr lang="en-GB" sz="900" b="1" dirty="0">
                <a:solidFill>
                  <a:srgbClr val="575757"/>
                </a:solidFill>
              </a:rPr>
              <a:t>y</a:t>
            </a:r>
            <a:r>
              <a:rPr lang="en-GB" sz="900" b="1" dirty="0" smtClean="0">
                <a:solidFill>
                  <a:srgbClr val="575757"/>
                </a:solidFill>
              </a:rPr>
              <a:t>our </a:t>
            </a:r>
            <a:r>
              <a:rPr lang="en-GB" sz="900" b="1" dirty="0">
                <a:solidFill>
                  <a:srgbClr val="575757"/>
                </a:solidFill>
              </a:rPr>
              <a:t>o</a:t>
            </a:r>
            <a:r>
              <a:rPr lang="en-GB" sz="900" b="1" dirty="0" smtClean="0">
                <a:solidFill>
                  <a:srgbClr val="575757"/>
                </a:solidFill>
              </a:rPr>
              <a:t>rganis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05538" y="2556456"/>
            <a:ext cx="317289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Please note your </a:t>
            </a:r>
            <a:r>
              <a:rPr lang="en-GB" sz="900" dirty="0">
                <a:solidFill>
                  <a:srgbClr val="575757"/>
                </a:solidFill>
              </a:rPr>
              <a:t>e</a:t>
            </a:r>
            <a:r>
              <a:rPr lang="en-GB" sz="900" dirty="0" smtClean="0">
                <a:solidFill>
                  <a:srgbClr val="575757"/>
                </a:solidFill>
              </a:rPr>
              <a:t>mail is unique an can only be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           registered once .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859567" y="5999344"/>
            <a:ext cx="3285814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Hint:</a:t>
            </a:r>
            <a:r>
              <a:rPr lang="en-GB" sz="900" dirty="0" smtClean="0">
                <a:solidFill>
                  <a:srgbClr val="575757"/>
                </a:solidFill>
              </a:rPr>
              <a:t> Once you have created your recovery word you will</a:t>
            </a:r>
          </a:p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 receive a unique Government Gateway ID.   </a:t>
            </a:r>
          </a:p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                 </a:t>
            </a:r>
            <a:r>
              <a:rPr lang="en-GB" sz="900" dirty="0" smtClean="0">
                <a:solidFill>
                  <a:srgbClr val="575757"/>
                </a:solidFill>
              </a:rPr>
              <a:t>As with your password you will need to make a note of </a:t>
            </a:r>
          </a:p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                  your Government Gateway ID (this will be your user ID </a:t>
            </a:r>
          </a:p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                when logging into IPAFFS) and save in a </a:t>
            </a:r>
            <a:r>
              <a:rPr lang="en-GB" sz="900" dirty="0">
                <a:solidFill>
                  <a:srgbClr val="575757"/>
                </a:solidFill>
              </a:rPr>
              <a:t>s</a:t>
            </a:r>
            <a:r>
              <a:rPr lang="en-GB" sz="900" dirty="0" smtClean="0">
                <a:solidFill>
                  <a:srgbClr val="575757"/>
                </a:solidFill>
              </a:rPr>
              <a:t>ecure plac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516398" y="6209153"/>
            <a:ext cx="3120618" cy="42706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You will also be asked to create a recovery word in</a:t>
            </a:r>
          </a:p>
          <a:p>
            <a:r>
              <a:rPr lang="en-GB" sz="900" b="1" dirty="0" smtClean="0">
                <a:solidFill>
                  <a:srgbClr val="575757"/>
                </a:solidFill>
              </a:rPr>
              <a:t>          Addition to a password.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         Remember to make a note of your password and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</a:t>
            </a:r>
            <a:r>
              <a:rPr lang="en-GB" sz="900" dirty="0" smtClean="0">
                <a:solidFill>
                  <a:srgbClr val="575757"/>
                </a:solidFill>
              </a:rPr>
              <a:t>          recovery   word as this will be required each time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</a:t>
            </a:r>
            <a:r>
              <a:rPr lang="en-GB" sz="900" dirty="0" smtClean="0">
                <a:solidFill>
                  <a:srgbClr val="575757"/>
                </a:solidFill>
              </a:rPr>
              <a:t>          you access IPAFF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07037" y="911067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Select ‘Create Sign in Details’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69380" y="5891684"/>
            <a:ext cx="3506030" cy="6881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Once you have read ‘T&amp;C’s’ and ‘Privacy Notice’ </a:t>
            </a:r>
          </a:p>
          <a:p>
            <a:pPr algn="ctr"/>
            <a:r>
              <a:rPr lang="en-GB" sz="900" dirty="0">
                <a:solidFill>
                  <a:srgbClr val="575757"/>
                </a:solidFill>
              </a:rPr>
              <a:t> </a:t>
            </a:r>
            <a:r>
              <a:rPr lang="en-GB" sz="900" dirty="0" smtClean="0">
                <a:solidFill>
                  <a:srgbClr val="575757"/>
                </a:solidFill>
              </a:rPr>
              <a:t>       you will then go on to create your Defra Account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8490262" y="2583106"/>
            <a:ext cx="317289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Please check your junk / spam folder if code not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           received within 2 hours.</a:t>
            </a:r>
          </a:p>
        </p:txBody>
      </p:sp>
    </p:spTree>
    <p:extLst>
      <p:ext uri="{BB962C8B-B14F-4D97-AF65-F5344CB8AC3E}">
        <p14:creationId xmlns:p14="http://schemas.microsoft.com/office/powerpoint/2010/main" val="732183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Straight Connector 104"/>
          <p:cNvCxnSpPr/>
          <p:nvPr/>
        </p:nvCxnSpPr>
        <p:spPr>
          <a:xfrm flipH="1" flipV="1">
            <a:off x="914058" y="3876497"/>
            <a:ext cx="10792644" cy="7461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68958" y="152395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Registrations continued…</a:t>
            </a:r>
            <a:endParaRPr lang="en-GB" dirty="0"/>
          </a:p>
        </p:txBody>
      </p:sp>
      <p:sp>
        <p:nvSpPr>
          <p:cNvPr id="70" name="TextBox 69"/>
          <p:cNvSpPr txBox="1"/>
          <p:nvPr/>
        </p:nvSpPr>
        <p:spPr>
          <a:xfrm>
            <a:off x="4133590" y="580350"/>
            <a:ext cx="4925162" cy="57320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Choose Type of Business</a:t>
            </a:r>
          </a:p>
        </p:txBody>
      </p:sp>
      <p:sp>
        <p:nvSpPr>
          <p:cNvPr id="73" name="Rectangle 72"/>
          <p:cNvSpPr/>
          <p:nvPr/>
        </p:nvSpPr>
        <p:spPr>
          <a:xfrm>
            <a:off x="1189231" y="3572502"/>
            <a:ext cx="233768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Manage Account Dashboard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8026400" y="3620039"/>
            <a:ext cx="4056377" cy="274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Notification Dashboard</a:t>
            </a:r>
            <a:endParaRPr lang="en-GB" sz="1200" b="1" dirty="0">
              <a:solidFill>
                <a:srgbClr val="575757"/>
              </a:solidFill>
            </a:endParaRPr>
          </a:p>
        </p:txBody>
      </p:sp>
      <p:cxnSp>
        <p:nvCxnSpPr>
          <p:cNvPr id="104" name="Straight Connector 103"/>
          <p:cNvCxnSpPr/>
          <p:nvPr/>
        </p:nvCxnSpPr>
        <p:spPr>
          <a:xfrm flipH="1">
            <a:off x="11742903" y="1021998"/>
            <a:ext cx="2062" cy="2854499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27639" y="1002124"/>
            <a:ext cx="10829970" cy="5881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 smtClean="0">
              <a:solidFill>
                <a:srgbClr val="575757"/>
              </a:solidFill>
            </a:endParaRPr>
          </a:p>
        </p:txBody>
      </p:sp>
      <p:pic>
        <p:nvPicPr>
          <p:cNvPr id="37" name="Picture 36" descr="C:\Users\X947355\AppData\Local\Microsoft\Windows\Temporary Internet Files\Content.Outlook\2K4F3NVQ\SnipImage (00D)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98" y="1287154"/>
            <a:ext cx="3474988" cy="1927186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Picture 37" descr="C:\Users\X947355\AppData\Local\Microsoft\Windows\Temporary Internet Files\Content.Outlook\2K4F3NVQ\SnipImage (00E)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293" y="1292739"/>
            <a:ext cx="3319028" cy="1739222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Picture 38" descr="C:\Users\X947355\AppData\Local\Microsoft\Windows\Temporary Internet Files\Content.Outlook\2K4F3NVQ\SnipImage (00F)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746" y="1270310"/>
            <a:ext cx="3072268" cy="1806658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Picture 39" descr="C:\Users\X947355\AppData\Local\Microsoft\Windows\Temporary Internet Files\Content.Outlook\2K4F3NVQ\SnipImage (010)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746" y="4147254"/>
            <a:ext cx="3072268" cy="202019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Picture 40" descr="C:\Users\X947355\AppData\Local\Microsoft\Windows\Temporary Internet Files\Content.Outlook\2K4F3NVQ\SnipImage (011)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294" y="4160836"/>
            <a:ext cx="3319028" cy="1895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Picture 41" descr="C:\Users\X947355\AppData\Local\Microsoft\Windows\Temporary Internet Files\Content.Outlook\2K4F3NVQ\SnipImage (012)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98" y="4163226"/>
            <a:ext cx="3474988" cy="191411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5351373" y="3579336"/>
            <a:ext cx="23494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Add Users – Manage Account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8866501" y="751905"/>
            <a:ext cx="25074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About Your Organisation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43540" y="735952"/>
            <a:ext cx="914400" cy="28604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Choose Type of Accou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180836" y="2788825"/>
            <a:ext cx="1809670" cy="6690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 smtClean="0">
              <a:solidFill>
                <a:srgbClr val="575757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715678" y="3062247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 </a:t>
            </a:r>
            <a:r>
              <a:rPr lang="en-GB" sz="900" dirty="0" smtClean="0">
                <a:solidFill>
                  <a:srgbClr val="575757"/>
                </a:solidFill>
              </a:rPr>
              <a:t>Once all fields are populated the section will </a:t>
            </a:r>
          </a:p>
          <a:p>
            <a:r>
              <a:rPr lang="en-GB" sz="900" dirty="0">
                <a:solidFill>
                  <a:srgbClr val="575757"/>
                </a:solidFill>
              </a:rPr>
              <a:t>s</a:t>
            </a:r>
            <a:r>
              <a:rPr lang="en-GB" sz="900" dirty="0" smtClean="0">
                <a:solidFill>
                  <a:srgbClr val="575757"/>
                </a:solidFill>
              </a:rPr>
              <a:t>ay ’Completed’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8543" y="5939901"/>
            <a:ext cx="3774366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dirty="0" smtClean="0">
                <a:solidFill>
                  <a:srgbClr val="575757"/>
                </a:solidFill>
              </a:rPr>
              <a:t>Users </a:t>
            </a:r>
            <a:r>
              <a:rPr lang="en-GB" sz="900" b="1" dirty="0" smtClean="0">
                <a:solidFill>
                  <a:srgbClr val="575757"/>
                </a:solidFill>
              </a:rPr>
              <a:t>must</a:t>
            </a:r>
            <a:r>
              <a:rPr lang="en-GB" sz="900" dirty="0" smtClean="0">
                <a:solidFill>
                  <a:srgbClr val="575757"/>
                </a:solidFill>
              </a:rPr>
              <a:t> be invited by an ‘Org Admin’ to be able to use IPAFFS on</a:t>
            </a:r>
          </a:p>
          <a:p>
            <a:r>
              <a:rPr lang="en-GB" sz="900" dirty="0">
                <a:solidFill>
                  <a:srgbClr val="575757"/>
                </a:solidFill>
              </a:rPr>
              <a:t>b</a:t>
            </a:r>
            <a:r>
              <a:rPr lang="en-GB" sz="900" dirty="0" smtClean="0">
                <a:solidFill>
                  <a:srgbClr val="575757"/>
                </a:solidFill>
              </a:rPr>
              <a:t>ehalf of your organisation.</a:t>
            </a:r>
          </a:p>
          <a:p>
            <a:r>
              <a:rPr lang="en-GB" sz="900" b="1" dirty="0" smtClean="0">
                <a:solidFill>
                  <a:srgbClr val="575757"/>
                </a:solidFill>
              </a:rPr>
              <a:t>Hint:</a:t>
            </a:r>
            <a:r>
              <a:rPr lang="en-GB" sz="900" dirty="0" smtClean="0">
                <a:solidFill>
                  <a:srgbClr val="575757"/>
                </a:solidFill>
              </a:rPr>
              <a:t> To amend / remove a users access, follow the instructions on the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‘Manage account’ dashboar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654630" y="5939901"/>
            <a:ext cx="3211595" cy="75130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dirty="0" smtClean="0">
                <a:solidFill>
                  <a:srgbClr val="575757"/>
                </a:solidFill>
              </a:rPr>
              <a:t>Your dashboard will be displayed and you are now able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to raise and view notification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82953" y="5999549"/>
            <a:ext cx="2982450" cy="7928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 </a:t>
            </a:r>
            <a:r>
              <a:rPr lang="en-GB" sz="900" dirty="0" smtClean="0">
                <a:solidFill>
                  <a:srgbClr val="575757"/>
                </a:solidFill>
              </a:rPr>
              <a:t>To add a user to your organisation select ‘Manage Account’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and this will display your dashboard, selecting ‘Manage Account’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next to the Organisations details will allow you to invite users</a:t>
            </a:r>
            <a:endParaRPr lang="en-GB" sz="900" dirty="0">
              <a:solidFill>
                <a:srgbClr val="575757"/>
              </a:solidFill>
            </a:endParaRPr>
          </a:p>
        </p:txBody>
      </p:sp>
      <p:grpSp>
        <p:nvGrpSpPr>
          <p:cNvPr id="50" name="Group 49"/>
          <p:cNvGrpSpPr/>
          <p:nvPr/>
        </p:nvGrpSpPr>
        <p:grpSpPr>
          <a:xfrm>
            <a:off x="364797" y="665993"/>
            <a:ext cx="670248" cy="638040"/>
            <a:chOff x="858253" y="1506484"/>
            <a:chExt cx="734090" cy="638040"/>
          </a:xfrm>
        </p:grpSpPr>
        <p:sp>
          <p:nvSpPr>
            <p:cNvPr id="52" name="Oval 5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7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368044" y="662975"/>
            <a:ext cx="670248" cy="638040"/>
            <a:chOff x="858253" y="1506484"/>
            <a:chExt cx="734090" cy="638040"/>
          </a:xfrm>
        </p:grpSpPr>
        <p:sp>
          <p:nvSpPr>
            <p:cNvPr id="55" name="Oval 5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8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148787" y="665630"/>
            <a:ext cx="670248" cy="638040"/>
            <a:chOff x="858253" y="1506484"/>
            <a:chExt cx="734090" cy="638040"/>
          </a:xfrm>
        </p:grpSpPr>
        <p:sp>
          <p:nvSpPr>
            <p:cNvPr id="58" name="Oval 57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9</a:t>
              </a:r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8128572" y="3522797"/>
            <a:ext cx="670248" cy="638040"/>
            <a:chOff x="858253" y="1506484"/>
            <a:chExt cx="734090" cy="638040"/>
          </a:xfrm>
        </p:grpSpPr>
        <p:sp>
          <p:nvSpPr>
            <p:cNvPr id="61" name="Oval 60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10</a:t>
              </a: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4407319" y="3532668"/>
            <a:ext cx="670248" cy="638040"/>
            <a:chOff x="858253" y="1506484"/>
            <a:chExt cx="734090" cy="638040"/>
          </a:xfrm>
        </p:grpSpPr>
        <p:sp>
          <p:nvSpPr>
            <p:cNvPr id="64" name="Oval 6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11</a:t>
              </a:r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390482" y="3522797"/>
            <a:ext cx="670248" cy="638040"/>
            <a:chOff x="858253" y="1506484"/>
            <a:chExt cx="734090" cy="638040"/>
          </a:xfrm>
        </p:grpSpPr>
        <p:sp>
          <p:nvSpPr>
            <p:cNvPr id="68" name="Oval 67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12</a:t>
              </a:r>
            </a:p>
          </p:txBody>
        </p:sp>
      </p:grpSp>
      <p:sp>
        <p:nvSpPr>
          <p:cNvPr id="71" name="Right Arrow 70"/>
          <p:cNvSpPr/>
          <p:nvPr/>
        </p:nvSpPr>
        <p:spPr>
          <a:xfrm>
            <a:off x="173372" y="901521"/>
            <a:ext cx="275275" cy="167032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 smtClean="0">
              <a:solidFill>
                <a:srgbClr val="FFFFFF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4742443" y="3004445"/>
            <a:ext cx="3506030" cy="6881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If your organisation is registered at Companies House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you will need your registration number</a:t>
            </a:r>
          </a:p>
        </p:txBody>
      </p:sp>
    </p:spTree>
    <p:extLst>
      <p:ext uri="{BB962C8B-B14F-4D97-AF65-F5344CB8AC3E}">
        <p14:creationId xmlns:p14="http://schemas.microsoft.com/office/powerpoint/2010/main" val="18251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2814" y="2802256"/>
            <a:ext cx="9116193" cy="2326791"/>
          </a:xfrm>
        </p:spPr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Business Readiness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Registration Journey – Standard Us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412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Arrow 5"/>
          <p:cNvSpPr/>
          <p:nvPr/>
        </p:nvSpPr>
        <p:spPr>
          <a:xfrm rot="10800000">
            <a:off x="190420" y="3776858"/>
            <a:ext cx="474424" cy="132857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 smtClean="0">
              <a:solidFill>
                <a:srgbClr val="FFFFFF"/>
              </a:solidFill>
            </a:endParaRPr>
          </a:p>
        </p:txBody>
      </p:sp>
      <p:cxnSp>
        <p:nvCxnSpPr>
          <p:cNvPr id="105" name="Straight Connector 104"/>
          <p:cNvCxnSpPr/>
          <p:nvPr/>
        </p:nvCxnSpPr>
        <p:spPr>
          <a:xfrm flipH="1" flipV="1">
            <a:off x="7440910" y="3869035"/>
            <a:ext cx="4308273" cy="1492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>
            <a:off x="824130" y="3862252"/>
            <a:ext cx="6679657" cy="533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468958" y="130198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How do I register for IPAFFS? – Standard User</a:t>
            </a:r>
            <a:endParaRPr lang="en-GB" dirty="0"/>
          </a:p>
        </p:txBody>
      </p:sp>
      <p:grpSp>
        <p:nvGrpSpPr>
          <p:cNvPr id="31" name="Group 30"/>
          <p:cNvGrpSpPr/>
          <p:nvPr/>
        </p:nvGrpSpPr>
        <p:grpSpPr>
          <a:xfrm>
            <a:off x="405674" y="663102"/>
            <a:ext cx="670248" cy="638040"/>
            <a:chOff x="858253" y="1506484"/>
            <a:chExt cx="734090" cy="638040"/>
          </a:xfrm>
        </p:grpSpPr>
        <p:sp>
          <p:nvSpPr>
            <p:cNvPr id="32" name="Oval 3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379528" y="3612710"/>
            <a:ext cx="689810" cy="465221"/>
            <a:chOff x="858253" y="1588168"/>
            <a:chExt cx="689810" cy="465221"/>
          </a:xfrm>
        </p:grpSpPr>
        <p:sp>
          <p:nvSpPr>
            <p:cNvPr id="44" name="Oval 4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58253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6</a:t>
              </a:r>
            </a:p>
          </p:txBody>
        </p:sp>
      </p:grpSp>
      <p:sp>
        <p:nvSpPr>
          <p:cNvPr id="70" name="TextBox 69"/>
          <p:cNvSpPr txBox="1"/>
          <p:nvPr/>
        </p:nvSpPr>
        <p:spPr>
          <a:xfrm>
            <a:off x="7957827" y="654295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Provide Email Details </a:t>
            </a:r>
          </a:p>
        </p:txBody>
      </p:sp>
      <p:sp>
        <p:nvSpPr>
          <p:cNvPr id="72" name="Rectangle 71"/>
          <p:cNvSpPr/>
          <p:nvPr/>
        </p:nvSpPr>
        <p:spPr>
          <a:xfrm>
            <a:off x="5014774" y="740831"/>
            <a:ext cx="30659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Create a Government Gateway Account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535965" y="3590585"/>
            <a:ext cx="39936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Receive Government Gateway ID </a:t>
            </a:r>
          </a:p>
        </p:txBody>
      </p:sp>
      <p:grpSp>
        <p:nvGrpSpPr>
          <p:cNvPr id="93" name="Group 92"/>
          <p:cNvGrpSpPr/>
          <p:nvPr/>
        </p:nvGrpSpPr>
        <p:grpSpPr>
          <a:xfrm>
            <a:off x="4415191" y="3508535"/>
            <a:ext cx="718125" cy="616053"/>
            <a:chOff x="872579" y="1526960"/>
            <a:chExt cx="661156" cy="565415"/>
          </a:xfrm>
        </p:grpSpPr>
        <p:sp>
          <p:nvSpPr>
            <p:cNvPr id="94" name="Oval 93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872579" y="1526960"/>
              <a:ext cx="661156" cy="565415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5</a:t>
              </a:r>
            </a:p>
          </p:txBody>
        </p:sp>
      </p:grpSp>
      <p:cxnSp>
        <p:nvCxnSpPr>
          <p:cNvPr id="104" name="Straight Connector 103"/>
          <p:cNvCxnSpPr/>
          <p:nvPr/>
        </p:nvCxnSpPr>
        <p:spPr>
          <a:xfrm>
            <a:off x="11749183" y="1017830"/>
            <a:ext cx="0" cy="2866127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 flipH="1" flipV="1">
            <a:off x="932236" y="991678"/>
            <a:ext cx="10816947" cy="26152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8073162" y="3633610"/>
            <a:ext cx="689810" cy="465221"/>
            <a:chOff x="858253" y="1588168"/>
            <a:chExt cx="689810" cy="465221"/>
          </a:xfrm>
        </p:grpSpPr>
        <p:sp>
          <p:nvSpPr>
            <p:cNvPr id="47" name="Oval 46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858253" y="1620253"/>
              <a:ext cx="689810" cy="41047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4</a:t>
              </a: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7994212" y="771263"/>
            <a:ext cx="815331" cy="465221"/>
            <a:chOff x="807419" y="1588168"/>
            <a:chExt cx="815331" cy="465221"/>
          </a:xfrm>
        </p:grpSpPr>
        <p:sp>
          <p:nvSpPr>
            <p:cNvPr id="35" name="Oval 3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807419" y="1613571"/>
              <a:ext cx="815331" cy="439818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3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374511" y="760047"/>
            <a:ext cx="689810" cy="465221"/>
            <a:chOff x="845376" y="1588168"/>
            <a:chExt cx="689810" cy="465221"/>
          </a:xfrm>
        </p:grpSpPr>
        <p:sp>
          <p:nvSpPr>
            <p:cNvPr id="29" name="Oval 28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45376" y="1620253"/>
              <a:ext cx="689810" cy="417094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2</a:t>
              </a: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 smtClean="0">
              <a:solidFill>
                <a:srgbClr val="575757"/>
              </a:solidFill>
            </a:endParaRPr>
          </a:p>
        </p:txBody>
      </p:sp>
      <p:pic>
        <p:nvPicPr>
          <p:cNvPr id="114" name="Picture 113" descr="C:\Users\X947355\AppData\Local\Microsoft\Windows\Temporary Internet Files\Content.Outlook\2K4F3NVQ\SnipImage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461" y="1291028"/>
            <a:ext cx="3476093" cy="14403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Picture 114" descr="C:\Users\X947355\AppData\Local\Microsoft\Windows\Temporary Internet Files\Content.Outlook\2K4F3NVQ\SnipImage (008)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565" y="1287970"/>
            <a:ext cx="3166251" cy="1559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" name="Picture 115" descr="C:\Users\X947355\AppData\Local\Microsoft\Windows\Temporary Internet Files\Content.Outlook\2K4F3NVQ\SnipImage (009)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4387" y="4140665"/>
            <a:ext cx="3167885" cy="18244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Picture 116" descr="C:\Users\X947355\AppData\Local\Microsoft\Windows\Temporary Internet Files\Content.Outlook\2K4F3NVQ\SnipImage (00A)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815" y="4136804"/>
            <a:ext cx="3365739" cy="18283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8" name="Picture 117" descr="C:\Users\X947355\AppData\Local\Microsoft\Windows\Temporary Internet Files\Content.Outlook\2K4F3NVQ\SnipImage (00B)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32" y="4161531"/>
            <a:ext cx="3432379" cy="1837813"/>
          </a:xfrm>
          <a:prstGeom prst="rect">
            <a:avLst/>
          </a:prstGeom>
          <a:noFill/>
          <a:ln>
            <a:noFill/>
          </a:ln>
        </p:spPr>
      </p:pic>
      <p:sp>
        <p:nvSpPr>
          <p:cNvPr id="121" name="Rectangle 120"/>
          <p:cNvSpPr/>
          <p:nvPr/>
        </p:nvSpPr>
        <p:spPr>
          <a:xfrm>
            <a:off x="8989161" y="3612110"/>
            <a:ext cx="19541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Validate Email Details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5502371" y="3606958"/>
            <a:ext cx="20523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Create a Password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438789" y="2814306"/>
            <a:ext cx="4086911" cy="71555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Hint:  </a:t>
            </a:r>
            <a:r>
              <a:rPr lang="en-GB" sz="900" dirty="0" smtClean="0">
                <a:solidFill>
                  <a:srgbClr val="575757"/>
                </a:solidFill>
              </a:rPr>
              <a:t>Remember the first person to register your organisation </a:t>
            </a:r>
          </a:p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                       will hold the ‘Org Admin’ position and will be able to invite other </a:t>
            </a:r>
          </a:p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      users to your organisation and also to allocate </a:t>
            </a:r>
            <a:r>
              <a:rPr lang="en-GB" sz="900" dirty="0">
                <a:solidFill>
                  <a:srgbClr val="575757"/>
                </a:solidFill>
              </a:rPr>
              <a:t>r</a:t>
            </a:r>
            <a:r>
              <a:rPr lang="en-GB" sz="900" dirty="0" smtClean="0">
                <a:solidFill>
                  <a:srgbClr val="575757"/>
                </a:solidFill>
              </a:rPr>
              <a:t>oles.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</a:t>
            </a:r>
            <a:endParaRPr lang="en-GB" sz="900" dirty="0">
              <a:solidFill>
                <a:srgbClr val="575757"/>
              </a:solidFill>
            </a:endParaRPr>
          </a:p>
          <a:p>
            <a:pPr algn="ctr"/>
            <a:r>
              <a:rPr lang="en-GB" sz="900" b="1" dirty="0" smtClean="0">
                <a:solidFill>
                  <a:schemeClr val="tx1"/>
                </a:solidFill>
              </a:rPr>
              <a:t>We highly recommend that you have multiple ‘Org Admins’ within </a:t>
            </a:r>
          </a:p>
          <a:p>
            <a:pPr algn="ctr"/>
            <a:r>
              <a:rPr lang="en-GB" sz="900" b="1" dirty="0">
                <a:solidFill>
                  <a:schemeClr val="tx1"/>
                </a:solidFill>
              </a:rPr>
              <a:t>y</a:t>
            </a:r>
            <a:r>
              <a:rPr lang="en-GB" sz="900" b="1" dirty="0" smtClean="0">
                <a:solidFill>
                  <a:schemeClr val="tx1"/>
                </a:solidFill>
              </a:rPr>
              <a:t>our </a:t>
            </a:r>
            <a:r>
              <a:rPr lang="en-GB" sz="900" b="1" dirty="0">
                <a:solidFill>
                  <a:schemeClr val="tx1"/>
                </a:solidFill>
              </a:rPr>
              <a:t>o</a:t>
            </a:r>
            <a:r>
              <a:rPr lang="en-GB" sz="900" b="1" dirty="0" smtClean="0">
                <a:solidFill>
                  <a:schemeClr val="tx1"/>
                </a:solidFill>
              </a:rPr>
              <a:t>rganisation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455368" y="2517473"/>
            <a:ext cx="317289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Please note your </a:t>
            </a:r>
            <a:r>
              <a:rPr lang="en-GB" sz="900" dirty="0">
                <a:solidFill>
                  <a:srgbClr val="575757"/>
                </a:solidFill>
              </a:rPr>
              <a:t>e</a:t>
            </a:r>
            <a:r>
              <a:rPr lang="en-GB" sz="900" dirty="0" smtClean="0">
                <a:solidFill>
                  <a:srgbClr val="575757"/>
                </a:solidFill>
              </a:rPr>
              <a:t>mail is unique and can only be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</a:t>
            </a:r>
            <a:r>
              <a:rPr lang="en-GB" sz="900" dirty="0" smtClean="0">
                <a:solidFill>
                  <a:srgbClr val="575757"/>
                </a:solidFill>
              </a:rPr>
              <a:t>           registered once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95575" y="5833530"/>
            <a:ext cx="3994499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dirty="0" smtClean="0">
                <a:solidFill>
                  <a:srgbClr val="575757"/>
                </a:solidFill>
              </a:rPr>
              <a:t>Once you have created your recovery word you will receive a unique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Government Gateway ID.   </a:t>
            </a:r>
          </a:p>
          <a:p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As with your password you will need to make a note of your Government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Gateway ID (this will be your user ID when logging into IPAFFS) and save in a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secure plac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073993" y="5854018"/>
            <a:ext cx="3120618" cy="58649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Remember to make a note of your password and recovery</a:t>
            </a:r>
          </a:p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word as this will be required each time you access IPAFF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412369" y="911067"/>
            <a:ext cx="4086911" cy="47089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Select ‘Create Sign in Details’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847005" y="713228"/>
            <a:ext cx="15359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Invitation received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751886" y="2457186"/>
            <a:ext cx="3257698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 </a:t>
            </a:r>
            <a:r>
              <a:rPr lang="en-GB" sz="900" dirty="0" smtClean="0">
                <a:solidFill>
                  <a:srgbClr val="575757"/>
                </a:solidFill>
              </a:rPr>
              <a:t>You can only access IPAFFS if you receive an invitation </a:t>
            </a:r>
          </a:p>
          <a:p>
            <a:r>
              <a:rPr lang="en-GB" sz="900" dirty="0">
                <a:solidFill>
                  <a:srgbClr val="575757"/>
                </a:solidFill>
              </a:rPr>
              <a:t> </a:t>
            </a:r>
            <a:r>
              <a:rPr lang="en-GB" sz="900" dirty="0" smtClean="0">
                <a:solidFill>
                  <a:srgbClr val="575757"/>
                </a:solidFill>
              </a:rPr>
              <a:t>          via email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576293" y="5690065"/>
            <a:ext cx="317289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Please check your junk / spam  folder if code not  received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within 2 hours</a:t>
            </a: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86" y="1313363"/>
            <a:ext cx="3611800" cy="1454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962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68958" y="152395"/>
            <a:ext cx="8781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dirty="0" smtClean="0">
                <a:solidFill>
                  <a:srgbClr val="00B050">
                    <a:lumMod val="100000"/>
                  </a:srgb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rPr>
              <a:t>Registrations continued…</a:t>
            </a:r>
            <a:endParaRPr lang="en-GB" dirty="0"/>
          </a:p>
        </p:txBody>
      </p:sp>
      <p:sp>
        <p:nvSpPr>
          <p:cNvPr id="100" name="Rectangle 99"/>
          <p:cNvSpPr/>
          <p:nvPr/>
        </p:nvSpPr>
        <p:spPr>
          <a:xfrm>
            <a:off x="8179263" y="696542"/>
            <a:ext cx="4056377" cy="274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Notification Dashboard</a:t>
            </a:r>
            <a:endParaRPr lang="en-GB" sz="1200" b="1" dirty="0">
              <a:solidFill>
                <a:srgbClr val="575757"/>
              </a:solidFill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 flipH="1" flipV="1">
            <a:off x="927639" y="1002124"/>
            <a:ext cx="10829970" cy="5881"/>
          </a:xfrm>
          <a:prstGeom prst="line">
            <a:avLst/>
          </a:prstGeom>
          <a:ln w="635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9214596" y="105808"/>
            <a:ext cx="389308" cy="25004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00" b="1" dirty="0" smtClean="0">
              <a:solidFill>
                <a:srgbClr val="575757"/>
              </a:solidFill>
            </a:endParaRPr>
          </a:p>
        </p:txBody>
      </p:sp>
      <p:pic>
        <p:nvPicPr>
          <p:cNvPr id="40" name="Picture 39" descr="C:\Users\X947355\AppData\Local\Microsoft\Windows\Temporary Internet Files\Content.Outlook\2K4F3NVQ\SnipImage (010)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4867" y="1263307"/>
            <a:ext cx="3072268" cy="1865545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Rectangle 50"/>
          <p:cNvSpPr/>
          <p:nvPr/>
        </p:nvSpPr>
        <p:spPr>
          <a:xfrm>
            <a:off x="5088888" y="672243"/>
            <a:ext cx="250747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About You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80836" y="2788825"/>
            <a:ext cx="1809670" cy="66906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 smtClean="0">
              <a:solidFill>
                <a:srgbClr val="575757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13768" y="3020063"/>
            <a:ext cx="2767293" cy="58142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Once all fields are populated the section will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        say ’Completed’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478424" y="2907465"/>
            <a:ext cx="3211595" cy="75130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Your dashboard will be displayed and you are now able </a:t>
            </a:r>
          </a:p>
          <a:p>
            <a:pPr algn="ctr"/>
            <a:r>
              <a:rPr lang="en-GB" sz="900" dirty="0" smtClean="0">
                <a:solidFill>
                  <a:srgbClr val="575757"/>
                </a:solidFill>
              </a:rPr>
              <a:t>to raise and view notifications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364797" y="665993"/>
            <a:ext cx="670248" cy="638040"/>
            <a:chOff x="858253" y="1506484"/>
            <a:chExt cx="734090" cy="638040"/>
          </a:xfrm>
        </p:grpSpPr>
        <p:sp>
          <p:nvSpPr>
            <p:cNvPr id="52" name="Oval 51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7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368044" y="662975"/>
            <a:ext cx="670248" cy="638040"/>
            <a:chOff x="858253" y="1506484"/>
            <a:chExt cx="734090" cy="638040"/>
          </a:xfrm>
        </p:grpSpPr>
        <p:sp>
          <p:nvSpPr>
            <p:cNvPr id="55" name="Oval 54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8</a:t>
              </a:r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8148787" y="665630"/>
            <a:ext cx="670248" cy="638040"/>
            <a:chOff x="858253" y="1506484"/>
            <a:chExt cx="734090" cy="638040"/>
          </a:xfrm>
        </p:grpSpPr>
        <p:sp>
          <p:nvSpPr>
            <p:cNvPr id="58" name="Oval 57"/>
            <p:cNvSpPr/>
            <p:nvPr/>
          </p:nvSpPr>
          <p:spPr>
            <a:xfrm>
              <a:off x="946484" y="1588168"/>
              <a:ext cx="513348" cy="465221"/>
            </a:xfrm>
            <a:prstGeom prst="ellipse">
              <a:avLst/>
            </a:prstGeom>
            <a:solidFill>
              <a:schemeClr val="tx2"/>
            </a:solidFill>
            <a:ln w="9525" cap="rnd" cmpd="sng" algn="ctr">
              <a:solidFill>
                <a:srgbClr val="29BA7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58253" y="1506484"/>
              <a:ext cx="734090" cy="638040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2000" b="1" dirty="0" smtClean="0">
                  <a:solidFill>
                    <a:schemeClr val="bg1"/>
                  </a:solidFill>
                </a:rPr>
                <a:t>09</a:t>
              </a:r>
            </a:p>
          </p:txBody>
        </p:sp>
      </p:grpSp>
      <p:sp>
        <p:nvSpPr>
          <p:cNvPr id="71" name="Right Arrow 70"/>
          <p:cNvSpPr/>
          <p:nvPr/>
        </p:nvSpPr>
        <p:spPr>
          <a:xfrm>
            <a:off x="173372" y="901521"/>
            <a:ext cx="275275" cy="167032"/>
          </a:xfrm>
          <a:prstGeom prst="rightArrow">
            <a:avLst/>
          </a:prstGeom>
          <a:solidFill>
            <a:schemeClr val="tx2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 smtClean="0">
              <a:solidFill>
                <a:srgbClr val="FFFFFF"/>
              </a:solidFill>
            </a:endParaRPr>
          </a:p>
        </p:txBody>
      </p:sp>
      <p:pic>
        <p:nvPicPr>
          <p:cNvPr id="45" name="Picture 44" descr="C:\Users\X947355\AppData\Local\Microsoft\Windows\Temporary Internet Files\Content.Outlook\2K4F3NVQ\SnipImage (00C)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133" y="1269178"/>
            <a:ext cx="3435035" cy="1775458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Rectangle 45"/>
          <p:cNvSpPr/>
          <p:nvPr/>
        </p:nvSpPr>
        <p:spPr>
          <a:xfrm>
            <a:off x="1284366" y="710624"/>
            <a:ext cx="22280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575757"/>
                </a:solidFill>
              </a:rPr>
              <a:t>Now register for IPAFFS</a:t>
            </a:r>
            <a:endParaRPr lang="en-GB" sz="1200" b="1" dirty="0">
              <a:solidFill>
                <a:srgbClr val="575757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45115" y="2982730"/>
            <a:ext cx="3506030" cy="6881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 smtClean="0">
                <a:solidFill>
                  <a:srgbClr val="575757"/>
                </a:solidFill>
              </a:rPr>
              <a:t>Hint: </a:t>
            </a:r>
            <a:r>
              <a:rPr lang="en-GB" sz="900" dirty="0" smtClean="0">
                <a:solidFill>
                  <a:srgbClr val="575757"/>
                </a:solidFill>
              </a:rPr>
              <a:t>Once you have read ‘T&amp;C’s’ and ‘Privacy Notice’ you will then </a:t>
            </a:r>
          </a:p>
          <a:p>
            <a:r>
              <a:rPr lang="en-GB" sz="900" dirty="0" smtClean="0">
                <a:solidFill>
                  <a:srgbClr val="575757"/>
                </a:solidFill>
              </a:rPr>
              <a:t>        go on to create your Defra Account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7225" y="1239243"/>
            <a:ext cx="2694415" cy="1898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69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2_BCG Grid 16:9">
  <a:themeElements>
    <a:clrScheme name="defr">
      <a:dk1>
        <a:sysClr val="windowText" lastClr="000000"/>
      </a:dk1>
      <a:lt1>
        <a:sysClr val="window" lastClr="FFFFFF"/>
      </a:lt1>
      <a:dk2>
        <a:srgbClr val="00B050"/>
      </a:dk2>
      <a:lt2>
        <a:srgbClr val="FFFFFF"/>
      </a:lt2>
      <a:accent1>
        <a:srgbClr val="00AF41"/>
      </a:accent1>
      <a:accent2>
        <a:srgbClr val="8FBF41"/>
      </a:accent2>
      <a:accent3>
        <a:srgbClr val="FFD500"/>
      </a:accent3>
      <a:accent4>
        <a:srgbClr val="DE2B29"/>
      </a:accent4>
      <a:accent5>
        <a:srgbClr val="F59A00"/>
      </a:accent5>
      <a:accent6>
        <a:srgbClr val="007BC4"/>
      </a:accent6>
      <a:hlink>
        <a:srgbClr val="007BC4"/>
      </a:hlink>
      <a:folHlink>
        <a:srgbClr val="6D307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fbabd5ee-c98c-4a9b-aa64-c82fd249b873" ContentTypeId="0x010100F686F50C4F4FBE4DBC200A01334D69F2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efra Presentation" ma:contentTypeID="0x010100F686F50C4F4FBE4DBC200A01334D69F2010100293BF1D17831BD46BFB543243062A8C9" ma:contentTypeVersion="0" ma:contentTypeDescription="Presentation document" ma:contentTypeScope="" ma:versionID="616d58caf01b3b3c35a9a1e5e1dff9cd">
  <xsd:schema xmlns:xsd="http://www.w3.org/2001/XMLSchema" xmlns:xs="http://www.w3.org/2001/XMLSchema" xmlns:p="http://schemas.microsoft.com/office/2006/metadata/properties" xmlns:ns2="41b3ec6c-eebd-4435-b1cb-6f93f025f7d1" targetNamespace="http://schemas.microsoft.com/office/2006/metadata/properties" ma:root="true" ma:fieldsID="aa2290bd1654593ef7c186b4bb5945cb" ns2:_="">
    <xsd:import namespace="41b3ec6c-eebd-4435-b1cb-6f93f025f7d1"/>
    <xsd:element name="properties">
      <xsd:complexType>
        <xsd:sequence>
          <xsd:element name="documentManagement">
            <xsd:complexType>
              <xsd:all>
                <xsd:element ref="ns2:bcb1675984d34ae3a1ed6b6e433c98de" minOccurs="0"/>
                <xsd:element ref="ns2:TaxCatchAll" minOccurs="0"/>
                <xsd:element ref="ns2:TaxCatchAllLabel" minOccurs="0"/>
                <xsd:element ref="ns2:peb8f3fab875401ca34a9f28cac4640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b3ec6c-eebd-4435-b1cb-6f93f025f7d1" elementFormDefault="qualified">
    <xsd:import namespace="http://schemas.microsoft.com/office/2006/documentManagement/types"/>
    <xsd:import namespace="http://schemas.microsoft.com/office/infopath/2007/PartnerControls"/>
    <xsd:element name="bcb1675984d34ae3a1ed6b6e433c98de" ma:index="8" nillable="true" ma:taxonomy="true" ma:internalName="bcb1675984d34ae3a1ed6b6e433c98de" ma:taxonomyFieldName="Directorate" ma:displayName="Directorate" ma:default="" ma:fieldId="{bcb16759-84d3-4ae3-a1ed-6b6e433c98de}" ma:sspId="fbabd5ee-c98c-4a9b-aa64-c82fd249b873" ma:termSetId="a3042207-bc74-4e42-93b3-dbb4e6115b8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ce45e0a4-74f0-41db-b90b-1c3248e21f9b}" ma:internalName="TaxCatchAll" ma:showField="CatchAllData" ma:web="8344ce34-14a5-496e-ab9e-f581766bde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ce45e0a4-74f0-41db-b90b-1c3248e21f9b}" ma:internalName="TaxCatchAllLabel" ma:readOnly="true" ma:showField="CatchAllDataLabel" ma:web="8344ce34-14a5-496e-ab9e-f581766bde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eb8f3fab875401ca34a9f28cac46400" ma:index="12" nillable="true" ma:taxonomy="true" ma:internalName="peb8f3fab875401ca34a9f28cac46400" ma:taxonomyFieldName="SecurityClassification" ma:displayName="SecurityClassification" ma:default="" ma:fieldId="{9eb8f3fa-b875-401c-a34a-9f28cac46400}" ma:sspId="fbabd5ee-c98c-4a9b-aa64-c82fd249b873" ma:termSetId="cb8bbbf2-2a11-43af-a18e-40ed7c8e4b1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eb8f3fab875401ca34a9f28cac46400 xmlns="41b3ec6c-eebd-4435-b1cb-6f93f025f7d1">
      <Terms xmlns="http://schemas.microsoft.com/office/infopath/2007/PartnerControls"/>
    </peb8f3fab875401ca34a9f28cac46400>
    <TaxCatchAll xmlns="41b3ec6c-eebd-4435-b1cb-6f93f025f7d1"/>
    <bcb1675984d34ae3a1ed6b6e433c98de xmlns="41b3ec6c-eebd-4435-b1cb-6f93f025f7d1">
      <Terms xmlns="http://schemas.microsoft.com/office/infopath/2007/PartnerControls"/>
    </bcb1675984d34ae3a1ed6b6e433c98de>
  </documentManagement>
</p:properties>
</file>

<file path=customXml/itemProps1.xml><?xml version="1.0" encoding="utf-8"?>
<ds:datastoreItem xmlns:ds="http://schemas.openxmlformats.org/officeDocument/2006/customXml" ds:itemID="{53C33177-CC82-4C02-B338-9457FCF98FE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CE98A2E-259E-40D9-A2B9-895A934254D1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08886211-AC63-43D5-A9F0-4ACEEF202E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b3ec6c-eebd-4435-b1cb-6f93f025f7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5A30D5BA-9437-4808-8766-3D6FA8AB718D}">
  <ds:schemaRefs>
    <ds:schemaRef ds:uri="http://schemas.microsoft.com/office/2006/documentManagement/types"/>
    <ds:schemaRef ds:uri="http://www.w3.org/XML/1998/namespace"/>
    <ds:schemaRef ds:uri="http://purl.org/dc/dcmitype/"/>
    <ds:schemaRef ds:uri="http://schemas.openxmlformats.org/package/2006/metadata/core-properties"/>
    <ds:schemaRef ds:uri="http://purl.org/dc/terms/"/>
    <ds:schemaRef ds:uri="41b3ec6c-eebd-4435-b1cb-6f93f025f7d1"/>
    <ds:schemaRef ds:uri="http://schemas.microsoft.com/office/infopath/2007/PartnerControls"/>
    <ds:schemaRef ds:uri="http://schemas.microsoft.com/office/2006/metadata/propertie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59</TotalTime>
  <Words>692</Words>
  <Application>Microsoft Office PowerPoint</Application>
  <PresentationFormat>Widescreen</PresentationFormat>
  <Paragraphs>11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Trebuchet MS</vt:lpstr>
      <vt:lpstr>2_BCG Grid 16:9</vt:lpstr>
      <vt:lpstr>think-cell Slide</vt:lpstr>
      <vt:lpstr> Business Readiness  Registration Journey – Org Admin</vt:lpstr>
      <vt:lpstr>PowerPoint Presentation</vt:lpstr>
      <vt:lpstr>PowerPoint Presentation</vt:lpstr>
      <vt:lpstr> Business Readiness  Registration Journey – Standard User</vt:lpstr>
      <vt:lpstr>PowerPoint Presentation</vt:lpstr>
      <vt:lpstr>PowerPoint Presentation</vt:lpstr>
    </vt:vector>
  </TitlesOfParts>
  <Company>Defr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E Readiness Interviews, 04 February 2019</dc:title>
  <dc:creator>Rich, Stephanie</dc:creator>
  <cp:lastModifiedBy>Trotter, Marie (DEFRA)</cp:lastModifiedBy>
  <cp:revision>241</cp:revision>
  <cp:lastPrinted>2019-02-05T10:00:42Z</cp:lastPrinted>
  <dcterms:created xsi:type="dcterms:W3CDTF">2019-02-04T09:36:38Z</dcterms:created>
  <dcterms:modified xsi:type="dcterms:W3CDTF">2020-02-20T16:4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86F50C4F4FBE4DBC200A01334D69F2010100293BF1D17831BD46BFB543243062A8C9</vt:lpwstr>
  </property>
  <property fmtid="{D5CDD505-2E9C-101B-9397-08002B2CF9AE}" pid="3" name="Directorate">
    <vt:lpwstr/>
  </property>
  <property fmtid="{D5CDD505-2E9C-101B-9397-08002B2CF9AE}" pid="4" name="SecurityClassification">
    <vt:lpwstr/>
  </property>
</Properties>
</file>